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heme/theme14.xml" ContentType="application/vnd.openxmlformats-officedocument.theme+xml"/>
  <Override PartName="/ppt/slideMasters/slideMaster6.xml" ContentType="application/vnd.openxmlformats-officedocument.presentationml.slideMaster+xml"/>
  <Override PartName="/ppt/tags/tag12.xml" ContentType="application/vnd.openxmlformats-officedocument.presentationml.tags+xml"/>
  <Override PartName="/ppt/theme/theme8.xml" ContentType="application/vnd.openxmlformats-officedocument.theme+xml"/>
  <Override PartName="/ppt/tags/tag23.xml" ContentType="application/vnd.openxmlformats-officedocument.presentationml.tags+xml"/>
  <Override PartName="/ppt/theme/theme12.xml" ContentType="application/vnd.openxmlformats-officedocument.theme+xml"/>
  <Default Extension="xlsx" ContentType="application/vnd.openxmlformats-officedocument.spreadsheetml.sheet"/>
  <Override PartName="/ppt/diagrams/layout1.xml" ContentType="application/vnd.openxmlformats-officedocument.drawingml.diagramLayout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10.xml" ContentType="application/vnd.openxmlformats-officedocument.theme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diagrams/drawing1.xml" ContentType="application/vnd.ms-office.drawingml.diagramDrawing+xml"/>
  <Override PartName="/ppt/slides/slide1.xml" ContentType="application/vnd.openxmlformats-officedocument.presentationml.slide+xml"/>
  <Default Extension="emf" ContentType="image/x-emf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9.xml" ContentType="application/vnd.openxmlformats-officedocument.presentationml.tags+xml"/>
  <Override PartName="/ppt/slideLayouts/slideLayout41.xml" ContentType="application/vnd.openxmlformats-officedocument.presentationml.slideLayout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13.xml" ContentType="application/vnd.openxmlformats-officedocument.presentationml.tags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theme/theme13.xml" ContentType="application/vnd.openxmlformats-officedocument.them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74" r:id="rId3"/>
    <p:sldMasterId id="2147483677" r:id="rId4"/>
    <p:sldMasterId id="2147483683" r:id="rId5"/>
    <p:sldMasterId id="2147483689" r:id="rId6"/>
    <p:sldMasterId id="2147483695" r:id="rId7"/>
    <p:sldMasterId id="2147483699" r:id="rId8"/>
    <p:sldMasterId id="2147483705" r:id="rId9"/>
    <p:sldMasterId id="2147483709" r:id="rId10"/>
    <p:sldMasterId id="2147483712" r:id="rId11"/>
    <p:sldMasterId id="2147483717" r:id="rId12"/>
  </p:sldMasterIdLst>
  <p:notesMasterIdLst>
    <p:notesMasterId r:id="rId24"/>
  </p:notesMasterIdLst>
  <p:handoutMasterIdLst>
    <p:handoutMasterId r:id="rId25"/>
  </p:handoutMasterIdLst>
  <p:sldIdLst>
    <p:sldId id="528" r:id="rId13"/>
    <p:sldId id="572" r:id="rId14"/>
    <p:sldId id="583" r:id="rId15"/>
    <p:sldId id="569" r:id="rId16"/>
    <p:sldId id="584" r:id="rId17"/>
    <p:sldId id="530" r:id="rId18"/>
    <p:sldId id="531" r:id="rId19"/>
    <p:sldId id="596" r:id="rId20"/>
    <p:sldId id="597" r:id="rId21"/>
    <p:sldId id="590" r:id="rId22"/>
    <p:sldId id="591" r:id="rId23"/>
  </p:sldIdLst>
  <p:sldSz cx="8961438" cy="6721475"/>
  <p:notesSz cx="6797675" cy="9926638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  <p15:guide id="4" pos="1851">
          <p15:clr>
            <a:srgbClr val="A4A3A4"/>
          </p15:clr>
        </p15:guide>
        <p15:guide id="5" pos="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38DB8"/>
    <a:srgbClr val="028434"/>
    <a:srgbClr val="3333FF"/>
    <a:srgbClr val="CC00B4"/>
    <a:srgbClr val="B66AB2"/>
    <a:srgbClr val="FFCC99"/>
    <a:srgbClr val="BCDAFA"/>
    <a:srgbClr val="D47934"/>
    <a:srgbClr val="CC9900"/>
    <a:srgbClr val="B6DF8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8163" autoAdjust="0"/>
    <p:restoredTop sz="97218" autoAdjust="0"/>
  </p:normalViewPr>
  <p:slideViewPr>
    <p:cSldViewPr snapToGrid="0" snapToObjects="1">
      <p:cViewPr varScale="1">
        <p:scale>
          <a:sx n="75" d="100"/>
          <a:sy n="75" d="100"/>
        </p:scale>
        <p:origin x="-1578" y="-108"/>
      </p:cViewPr>
      <p:guideLst>
        <p:guide orient="horz" pos="4233"/>
        <p:guide orient="horz"/>
        <p:guide/>
        <p:guide pos="1851"/>
        <p:guide pos="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1552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20"/>
        <p:guide orient="horz" pos="3127"/>
        <p:guide pos="2124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да</c:v>
                </c:pt>
              </c:strCache>
            </c:strRef>
          </c:tx>
          <c:spPr>
            <a:solidFill>
              <a:srgbClr val="028434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учитель</c:v>
                </c:pt>
                <c:pt idx="1">
                  <c:v>родитель</c:v>
                </c:pt>
                <c:pt idx="2">
                  <c:v>Ученик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2.0000000000000021E-2</c:v>
                </c:pt>
                <c:pt idx="1">
                  <c:v>0.70000000000000051</c:v>
                </c:pt>
                <c:pt idx="2">
                  <c:v>0.7200000000000005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атрудняюсь ответить</c:v>
                </c:pt>
              </c:strCache>
            </c:strRef>
          </c:tx>
          <c:spPr>
            <a:solidFill>
              <a:srgbClr val="E38DB8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учитель</c:v>
                </c:pt>
                <c:pt idx="1">
                  <c:v>родитель</c:v>
                </c:pt>
                <c:pt idx="2">
                  <c:v>Ученик</c:v>
                </c:pt>
              </c:strCache>
            </c:strRef>
          </c:cat>
          <c:val>
            <c:numRef>
              <c:f>Лист1!$C$2:$C$4</c:f>
              <c:numCache>
                <c:formatCode>0%</c:formatCode>
                <c:ptCount val="3"/>
                <c:pt idx="0">
                  <c:v>5.0000000000000044E-2</c:v>
                </c:pt>
                <c:pt idx="1">
                  <c:v>0.12000000000000002</c:v>
                </c:pt>
                <c:pt idx="2">
                  <c:v>8.0000000000000085E-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ет</c:v>
                </c:pt>
              </c:strCache>
            </c:strRef>
          </c:tx>
          <c:spPr>
            <a:solidFill>
              <a:schemeClr val="tx2">
                <a:lumMod val="50000"/>
                <a:lumOff val="50000"/>
              </a:schemeClr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учитель</c:v>
                </c:pt>
                <c:pt idx="1">
                  <c:v>родитель</c:v>
                </c:pt>
                <c:pt idx="2">
                  <c:v>Ученик</c:v>
                </c:pt>
              </c:strCache>
            </c:strRef>
          </c:cat>
          <c:val>
            <c:numRef>
              <c:f>Лист1!$D$2:$D$4</c:f>
              <c:numCache>
                <c:formatCode>0%</c:formatCode>
                <c:ptCount val="3"/>
                <c:pt idx="0">
                  <c:v>0.93</c:v>
                </c:pt>
                <c:pt idx="1">
                  <c:v>0.18000000000000013</c:v>
                </c:pt>
                <c:pt idx="2">
                  <c:v>0.2</c:v>
                </c:pt>
              </c:numCache>
            </c:numRef>
          </c:val>
        </c:ser>
        <c:dLbls>
          <c:showVal val="1"/>
        </c:dLbls>
        <c:gapWidth val="75"/>
        <c:axId val="100413440"/>
        <c:axId val="101948416"/>
      </c:barChart>
      <c:catAx>
        <c:axId val="100413440"/>
        <c:scaling>
          <c:orientation val="minMax"/>
        </c:scaling>
        <c:axPos val="b"/>
        <c:numFmt formatCode="General" sourceLinked="0"/>
        <c:majorTickMark val="none"/>
        <c:tickLblPos val="nextTo"/>
        <c:crossAx val="101948416"/>
        <c:crosses val="autoZero"/>
        <c:auto val="1"/>
        <c:lblAlgn val="ctr"/>
        <c:lblOffset val="100"/>
      </c:catAx>
      <c:valAx>
        <c:axId val="101948416"/>
        <c:scaling>
          <c:orientation val="minMax"/>
        </c:scaling>
        <c:axPos val="l"/>
        <c:numFmt formatCode="0%" sourceLinked="1"/>
        <c:majorTickMark val="none"/>
        <c:tickLblPos val="nextTo"/>
        <c:crossAx val="100413440"/>
        <c:crosses val="autoZero"/>
        <c:crossBetween val="between"/>
      </c:valAx>
    </c:plotArea>
    <c:legend>
      <c:legendPos val="b"/>
      <c:layout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иск БЖ</c:v>
                </c:pt>
              </c:strCache>
            </c:strRef>
          </c:tx>
          <c:spPr>
            <a:solidFill>
              <a:srgbClr val="B66AB2"/>
            </a:solidFill>
          </c:spPr>
          <c:cat>
            <c:numRef>
              <c:f>Лист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аполнение БЖ</c:v>
                </c:pt>
              </c:strCache>
            </c:strRef>
          </c:tx>
          <c:spPr>
            <a:solidFill>
              <a:srgbClr val="92D050"/>
            </a:solidFill>
          </c:spPr>
          <c:cat>
            <c:numRef>
              <c:f>Лист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Лист1!$C$2:$C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Заполнение ЭЖ</c:v>
                </c:pt>
              </c:strCache>
            </c:strRef>
          </c:tx>
          <c:spPr>
            <a:solidFill>
              <a:srgbClr val="FF0000"/>
            </a:solidFill>
          </c:spPr>
          <c:cat>
            <c:numRef>
              <c:f>Лист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Лист1!$D$2:$D$10</c:f>
              <c:numCache>
                <c:formatCode>General</c:formatCode>
                <c:ptCount val="9"/>
                <c:pt idx="0">
                  <c:v>30</c:v>
                </c:pt>
                <c:pt idx="1">
                  <c:v>25</c:v>
                </c:pt>
                <c:pt idx="2">
                  <c:v>31</c:v>
                </c:pt>
                <c:pt idx="3">
                  <c:v>26</c:v>
                </c:pt>
                <c:pt idx="4">
                  <c:v>38</c:v>
                </c:pt>
                <c:pt idx="5">
                  <c:v>34</c:v>
                </c:pt>
                <c:pt idx="6">
                  <c:v>39</c:v>
                </c:pt>
                <c:pt idx="7">
                  <c:v>20</c:v>
                </c:pt>
                <c:pt idx="8">
                  <c:v>30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Мониторинг посещаемости и успеваемости</c:v>
                </c:pt>
              </c:strCache>
            </c:strRef>
          </c:tx>
          <c:spPr>
            <a:solidFill>
              <a:srgbClr val="7030A0"/>
            </a:solidFill>
          </c:spPr>
          <c:cat>
            <c:numRef>
              <c:f>Лист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Лист1!$E$2:$E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4</c:v>
                </c:pt>
                <c:pt idx="4">
                  <c:v>6</c:v>
                </c:pt>
                <c:pt idx="5">
                  <c:v>3</c:v>
                </c:pt>
                <c:pt idx="6">
                  <c:v>4</c:v>
                </c:pt>
                <c:pt idx="7">
                  <c:v>3</c:v>
                </c:pt>
                <c:pt idx="8">
                  <c:v>3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Работа с дневниками учителем</c:v>
                </c:pt>
              </c:strCache>
            </c:strRef>
          </c:tx>
          <c:cat>
            <c:numRef>
              <c:f>Лист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Лист1!$F$2:$F$10</c:f>
              <c:numCache>
                <c:formatCode>General</c:formatCode>
                <c:ptCount val="9"/>
                <c:pt idx="0">
                  <c:v>15</c:v>
                </c:pt>
                <c:pt idx="1">
                  <c:v>20</c:v>
                </c:pt>
                <c:pt idx="2">
                  <c:v>14</c:v>
                </c:pt>
                <c:pt idx="3">
                  <c:v>23</c:v>
                </c:pt>
                <c:pt idx="4">
                  <c:v>26</c:v>
                </c:pt>
                <c:pt idx="5">
                  <c:v>15</c:v>
                </c:pt>
                <c:pt idx="6">
                  <c:v>16</c:v>
                </c:pt>
                <c:pt idx="7">
                  <c:v>12</c:v>
                </c:pt>
                <c:pt idx="8">
                  <c:v>15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Заполнение дневника</c:v>
                </c:pt>
              </c:strCache>
            </c:strRef>
          </c:tx>
          <c:spPr>
            <a:solidFill>
              <a:srgbClr val="FFCC99"/>
            </a:solidFill>
          </c:spPr>
          <c:cat>
            <c:numRef>
              <c:f>Лист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Лист1!$G$2:$G$10</c:f>
              <c:numCache>
                <c:formatCode>General</c:formatCode>
                <c:ptCount val="9"/>
                <c:pt idx="0">
                  <c:v>10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Информирование родителей</c:v>
                </c:pt>
              </c:strCache>
            </c:strRef>
          </c:tx>
          <c:spPr>
            <a:solidFill>
              <a:srgbClr val="FFFF00"/>
            </a:solidFill>
          </c:spPr>
          <c:cat>
            <c:numRef>
              <c:f>Лист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Лист1!$H$2:$H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0</c:v>
                </c:pt>
                <c:pt idx="3">
                  <c:v>4</c:v>
                </c:pt>
                <c:pt idx="4">
                  <c:v>1</c:v>
                </c:pt>
                <c:pt idx="5">
                  <c:v>2</c:v>
                </c:pt>
                <c:pt idx="6">
                  <c:v>3</c:v>
                </c:pt>
                <c:pt idx="7">
                  <c:v>4</c:v>
                </c:pt>
                <c:pt idx="8">
                  <c:v>5</c:v>
                </c:pt>
              </c:numCache>
            </c:numRef>
          </c:val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Получение информации о текущем состоянии успеваемости </c:v>
                </c:pt>
              </c:strCache>
            </c:strRef>
          </c:tx>
          <c:spPr>
            <a:solidFill>
              <a:srgbClr val="00B050"/>
            </a:solidFill>
          </c:spPr>
          <c:cat>
            <c:numRef>
              <c:f>Лист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Лист1!$I$2:$I$10</c:f>
              <c:numCache>
                <c:formatCode>General</c:formatCode>
                <c:ptCount val="9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</c:numCache>
            </c:numRef>
          </c:val>
        </c:ser>
        <c:dLbls/>
        <c:gapWidth val="55"/>
        <c:overlap val="100"/>
        <c:axId val="127906944"/>
        <c:axId val="127908480"/>
      </c:barChart>
      <c:catAx>
        <c:axId val="127906944"/>
        <c:scaling>
          <c:orientation val="minMax"/>
        </c:scaling>
        <c:axPos val="b"/>
        <c:numFmt formatCode="General" sourceLinked="1"/>
        <c:majorTickMark val="none"/>
        <c:tickLblPos val="nextTo"/>
        <c:crossAx val="127908480"/>
        <c:crosses val="autoZero"/>
        <c:auto val="1"/>
        <c:lblAlgn val="ctr"/>
        <c:lblOffset val="100"/>
      </c:catAx>
      <c:valAx>
        <c:axId val="127908480"/>
        <c:scaling>
          <c:orientation val="minMax"/>
          <c:max val="200"/>
        </c:scaling>
        <c:axPos val="l"/>
        <c:majorGridlines/>
        <c:numFmt formatCode="General" sourceLinked="1"/>
        <c:majorTickMark val="none"/>
        <c:tickLblPos val="nextTo"/>
        <c:crossAx val="127906944"/>
        <c:crosses val="autoZero"/>
        <c:crossBetween val="between"/>
      </c:valAx>
    </c:plotArea>
    <c:legend>
      <c:legendPos val="r"/>
      <c:layout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2ED48E3-CEF9-4DE2-B658-07AD5D926311}" type="doc">
      <dgm:prSet loTypeId="urn:microsoft.com/office/officeart/2005/8/layout/cycle2" loCatId="cycle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10091BFF-5756-4A1D-9199-0062E8B12827}">
      <dgm:prSet phldrT="[Текст]" custT="1"/>
      <dgm:spPr>
        <a:solidFill>
          <a:srgbClr val="E38DB8"/>
        </a:solidFill>
      </dgm:spPr>
      <dgm:t>
        <a:bodyPr/>
        <a:lstStyle/>
        <a:p>
          <a:r>
            <a:rPr lang="ru-RU" sz="2400" b="1" dirty="0" smtClean="0"/>
            <a:t>ученик</a:t>
          </a:r>
          <a:endParaRPr lang="ru-RU" sz="2400" b="1" dirty="0"/>
        </a:p>
      </dgm:t>
    </dgm:pt>
    <dgm:pt modelId="{7F5BDA44-4C51-4D4F-A7A0-CC1BA75F4DAD}" type="parTrans" cxnId="{2B663EC5-9D37-47BF-BA92-85A5474A66AD}">
      <dgm:prSet/>
      <dgm:spPr/>
      <dgm:t>
        <a:bodyPr/>
        <a:lstStyle/>
        <a:p>
          <a:endParaRPr lang="ru-RU"/>
        </a:p>
      </dgm:t>
    </dgm:pt>
    <dgm:pt modelId="{660B95AF-93BA-4054-B1C4-2BBB808B6075}" type="sibTrans" cxnId="{2B663EC5-9D37-47BF-BA92-85A5474A66AD}">
      <dgm:prSet/>
      <dgm:spPr/>
      <dgm:t>
        <a:bodyPr/>
        <a:lstStyle/>
        <a:p>
          <a:endParaRPr lang="ru-RU"/>
        </a:p>
      </dgm:t>
    </dgm:pt>
    <dgm:pt modelId="{E98D44D9-8994-4B58-99D5-272D82AC9C6E}">
      <dgm:prSet phldrT="[Текст]" custT="1"/>
      <dgm:spPr/>
      <dgm:t>
        <a:bodyPr/>
        <a:lstStyle/>
        <a:p>
          <a:r>
            <a:rPr lang="ru-RU" sz="2400" b="1" dirty="0" smtClean="0"/>
            <a:t>учитель</a:t>
          </a:r>
          <a:endParaRPr lang="ru-RU" sz="2400" b="1" dirty="0"/>
        </a:p>
      </dgm:t>
    </dgm:pt>
    <dgm:pt modelId="{0DF20BFA-B8D8-4587-BDAC-552D815006F6}" type="parTrans" cxnId="{BFE80CF3-603A-4FE0-BE86-C08B4C5E5249}">
      <dgm:prSet/>
      <dgm:spPr/>
      <dgm:t>
        <a:bodyPr/>
        <a:lstStyle/>
        <a:p>
          <a:endParaRPr lang="ru-RU"/>
        </a:p>
      </dgm:t>
    </dgm:pt>
    <dgm:pt modelId="{F379CE99-AFAF-4254-B9B4-EF0669B9CB68}" type="sibTrans" cxnId="{BFE80CF3-603A-4FE0-BE86-C08B4C5E5249}">
      <dgm:prSet/>
      <dgm:spPr/>
      <dgm:t>
        <a:bodyPr/>
        <a:lstStyle/>
        <a:p>
          <a:endParaRPr lang="ru-RU"/>
        </a:p>
      </dgm:t>
    </dgm:pt>
    <dgm:pt modelId="{7801EBE4-8ACE-4368-8E4B-5F39A2E7158B}">
      <dgm:prSet phldrT="[Текст]" custT="1"/>
      <dgm:spPr>
        <a:solidFill>
          <a:srgbClr val="92D050"/>
        </a:solidFill>
      </dgm:spPr>
      <dgm:t>
        <a:bodyPr/>
        <a:lstStyle/>
        <a:p>
          <a:r>
            <a:rPr lang="ru-RU" sz="2400" b="1" dirty="0" smtClean="0"/>
            <a:t>родитель</a:t>
          </a:r>
          <a:endParaRPr lang="ru-RU" sz="2400" b="1" dirty="0"/>
        </a:p>
      </dgm:t>
    </dgm:pt>
    <dgm:pt modelId="{5287E204-C22D-4A1F-813A-A93311D2D979}" type="parTrans" cxnId="{1A6253F2-3AC8-4B93-BA3A-820732D88D6D}">
      <dgm:prSet/>
      <dgm:spPr/>
      <dgm:t>
        <a:bodyPr/>
        <a:lstStyle/>
        <a:p>
          <a:endParaRPr lang="ru-RU"/>
        </a:p>
      </dgm:t>
    </dgm:pt>
    <dgm:pt modelId="{8102234B-5474-40EE-AC47-12EB87FE5C48}" type="sibTrans" cxnId="{1A6253F2-3AC8-4B93-BA3A-820732D88D6D}">
      <dgm:prSet/>
      <dgm:spPr/>
      <dgm:t>
        <a:bodyPr/>
        <a:lstStyle/>
        <a:p>
          <a:endParaRPr lang="ru-RU"/>
        </a:p>
      </dgm:t>
    </dgm:pt>
    <dgm:pt modelId="{4DB725C9-095C-4458-A066-52D212287C15}" type="pres">
      <dgm:prSet presAssocID="{C2ED48E3-CEF9-4DE2-B658-07AD5D92631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365245C-25B3-4BC5-B483-B969DD26F678}" type="pres">
      <dgm:prSet presAssocID="{10091BFF-5756-4A1D-9199-0062E8B12827}" presName="node" presStyleLbl="node1" presStyleIdx="0" presStyleCnt="3" custScaleX="1495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0D0FC3-1166-4844-B5EC-078FB0590090}" type="pres">
      <dgm:prSet presAssocID="{660B95AF-93BA-4054-B1C4-2BBB808B6075}" presName="sibTrans" presStyleLbl="sibTrans2D1" presStyleIdx="0" presStyleCnt="3"/>
      <dgm:spPr/>
      <dgm:t>
        <a:bodyPr/>
        <a:lstStyle/>
        <a:p>
          <a:endParaRPr lang="ru-RU"/>
        </a:p>
      </dgm:t>
    </dgm:pt>
    <dgm:pt modelId="{CC104764-B7EB-44EB-9920-A7435C0CBE20}" type="pres">
      <dgm:prSet presAssocID="{660B95AF-93BA-4054-B1C4-2BBB808B6075}" presName="connectorText" presStyleLbl="sibTrans2D1" presStyleIdx="0" presStyleCnt="3"/>
      <dgm:spPr/>
      <dgm:t>
        <a:bodyPr/>
        <a:lstStyle/>
        <a:p>
          <a:endParaRPr lang="ru-RU"/>
        </a:p>
      </dgm:t>
    </dgm:pt>
    <dgm:pt modelId="{E1827120-190F-416E-AC6B-1E8C3D5E8FC8}" type="pres">
      <dgm:prSet presAssocID="{E98D44D9-8994-4B58-99D5-272D82AC9C6E}" presName="node" presStyleLbl="node1" presStyleIdx="1" presStyleCnt="3" custScaleX="153004" custRadScaleRad="225411" custRadScaleInc="-286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901AC8-6200-4214-B755-710267473253}" type="pres">
      <dgm:prSet presAssocID="{F379CE99-AFAF-4254-B9B4-EF0669B9CB68}" presName="sibTrans" presStyleLbl="sibTrans2D1" presStyleIdx="1" presStyleCnt="3" custLinFactY="48263" custLinFactNeighborX="-779" custLinFactNeighborY="100000"/>
      <dgm:spPr/>
      <dgm:t>
        <a:bodyPr/>
        <a:lstStyle/>
        <a:p>
          <a:endParaRPr lang="ru-RU"/>
        </a:p>
      </dgm:t>
    </dgm:pt>
    <dgm:pt modelId="{A46C0FEB-6C72-4822-93EB-E9E7D09A2824}" type="pres">
      <dgm:prSet presAssocID="{F379CE99-AFAF-4254-B9B4-EF0669B9CB68}" presName="connectorText" presStyleLbl="sibTrans2D1" presStyleIdx="1" presStyleCnt="3"/>
      <dgm:spPr/>
      <dgm:t>
        <a:bodyPr/>
        <a:lstStyle/>
        <a:p>
          <a:endParaRPr lang="ru-RU"/>
        </a:p>
      </dgm:t>
    </dgm:pt>
    <dgm:pt modelId="{0515C738-B209-478F-AAE6-1A6E2727ECB0}" type="pres">
      <dgm:prSet presAssocID="{7801EBE4-8ACE-4368-8E4B-5F39A2E7158B}" presName="node" presStyleLbl="node1" presStyleIdx="2" presStyleCnt="3" custScaleX="171125" custRadScaleRad="227477" custRadScaleInc="288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BFC757-300C-4C25-B22F-48079F9F40BF}" type="pres">
      <dgm:prSet presAssocID="{8102234B-5474-40EE-AC47-12EB87FE5C48}" presName="sibTrans" presStyleLbl="sibTrans2D1" presStyleIdx="2" presStyleCnt="3"/>
      <dgm:spPr/>
      <dgm:t>
        <a:bodyPr/>
        <a:lstStyle/>
        <a:p>
          <a:endParaRPr lang="ru-RU"/>
        </a:p>
      </dgm:t>
    </dgm:pt>
    <dgm:pt modelId="{EDCC4B48-D5A1-4E3E-AD39-B245E500180A}" type="pres">
      <dgm:prSet presAssocID="{8102234B-5474-40EE-AC47-12EB87FE5C48}" presName="connectorText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7782637F-C879-4723-8D02-E2F73AA37448}" type="presOf" srcId="{8102234B-5474-40EE-AC47-12EB87FE5C48}" destId="{EDCC4B48-D5A1-4E3E-AD39-B245E500180A}" srcOrd="1" destOrd="0" presId="urn:microsoft.com/office/officeart/2005/8/layout/cycle2"/>
    <dgm:cxn modelId="{2B663EC5-9D37-47BF-BA92-85A5474A66AD}" srcId="{C2ED48E3-CEF9-4DE2-B658-07AD5D926311}" destId="{10091BFF-5756-4A1D-9199-0062E8B12827}" srcOrd="0" destOrd="0" parTransId="{7F5BDA44-4C51-4D4F-A7A0-CC1BA75F4DAD}" sibTransId="{660B95AF-93BA-4054-B1C4-2BBB808B6075}"/>
    <dgm:cxn modelId="{DCEE30AB-6B84-411C-BAB4-E88019B03FA3}" type="presOf" srcId="{C2ED48E3-CEF9-4DE2-B658-07AD5D926311}" destId="{4DB725C9-095C-4458-A066-52D212287C15}" srcOrd="0" destOrd="0" presId="urn:microsoft.com/office/officeart/2005/8/layout/cycle2"/>
    <dgm:cxn modelId="{BFE80CF3-603A-4FE0-BE86-C08B4C5E5249}" srcId="{C2ED48E3-CEF9-4DE2-B658-07AD5D926311}" destId="{E98D44D9-8994-4B58-99D5-272D82AC9C6E}" srcOrd="1" destOrd="0" parTransId="{0DF20BFA-B8D8-4587-BDAC-552D815006F6}" sibTransId="{F379CE99-AFAF-4254-B9B4-EF0669B9CB68}"/>
    <dgm:cxn modelId="{30375EFD-FD5E-4978-A652-42DC3FD3AA47}" type="presOf" srcId="{660B95AF-93BA-4054-B1C4-2BBB808B6075}" destId="{F70D0FC3-1166-4844-B5EC-078FB0590090}" srcOrd="0" destOrd="0" presId="urn:microsoft.com/office/officeart/2005/8/layout/cycle2"/>
    <dgm:cxn modelId="{1A6253F2-3AC8-4B93-BA3A-820732D88D6D}" srcId="{C2ED48E3-CEF9-4DE2-B658-07AD5D926311}" destId="{7801EBE4-8ACE-4368-8E4B-5F39A2E7158B}" srcOrd="2" destOrd="0" parTransId="{5287E204-C22D-4A1F-813A-A93311D2D979}" sibTransId="{8102234B-5474-40EE-AC47-12EB87FE5C48}"/>
    <dgm:cxn modelId="{378E10FD-280E-4C72-98EC-8A6DE2C7538A}" type="presOf" srcId="{F379CE99-AFAF-4254-B9B4-EF0669B9CB68}" destId="{BA901AC8-6200-4214-B755-710267473253}" srcOrd="0" destOrd="0" presId="urn:microsoft.com/office/officeart/2005/8/layout/cycle2"/>
    <dgm:cxn modelId="{28C7F2B9-574A-4E9E-A4E3-D637E9B96D52}" type="presOf" srcId="{10091BFF-5756-4A1D-9199-0062E8B12827}" destId="{C365245C-25B3-4BC5-B483-B969DD26F678}" srcOrd="0" destOrd="0" presId="urn:microsoft.com/office/officeart/2005/8/layout/cycle2"/>
    <dgm:cxn modelId="{F54D9326-4B94-4C06-AEEF-D5682E217B8B}" type="presOf" srcId="{8102234B-5474-40EE-AC47-12EB87FE5C48}" destId="{2EBFC757-300C-4C25-B22F-48079F9F40BF}" srcOrd="0" destOrd="0" presId="urn:microsoft.com/office/officeart/2005/8/layout/cycle2"/>
    <dgm:cxn modelId="{26217B30-C3E7-480F-8194-C9DEB03B3532}" type="presOf" srcId="{7801EBE4-8ACE-4368-8E4B-5F39A2E7158B}" destId="{0515C738-B209-478F-AAE6-1A6E2727ECB0}" srcOrd="0" destOrd="0" presId="urn:microsoft.com/office/officeart/2005/8/layout/cycle2"/>
    <dgm:cxn modelId="{D06187D1-8E4E-4538-B307-12B50E0A8AFA}" type="presOf" srcId="{F379CE99-AFAF-4254-B9B4-EF0669B9CB68}" destId="{A46C0FEB-6C72-4822-93EB-E9E7D09A2824}" srcOrd="1" destOrd="0" presId="urn:microsoft.com/office/officeart/2005/8/layout/cycle2"/>
    <dgm:cxn modelId="{6628965A-AE8F-4D77-9C5C-D85451ED995C}" type="presOf" srcId="{E98D44D9-8994-4B58-99D5-272D82AC9C6E}" destId="{E1827120-190F-416E-AC6B-1E8C3D5E8FC8}" srcOrd="0" destOrd="0" presId="urn:microsoft.com/office/officeart/2005/8/layout/cycle2"/>
    <dgm:cxn modelId="{B8009CC6-56E7-4098-A82C-D953126EFC29}" type="presOf" srcId="{660B95AF-93BA-4054-B1C4-2BBB808B6075}" destId="{CC104764-B7EB-44EB-9920-A7435C0CBE20}" srcOrd="1" destOrd="0" presId="urn:microsoft.com/office/officeart/2005/8/layout/cycle2"/>
    <dgm:cxn modelId="{EC2D6F08-66A1-4483-9F3A-C64B670603C4}" type="presParOf" srcId="{4DB725C9-095C-4458-A066-52D212287C15}" destId="{C365245C-25B3-4BC5-B483-B969DD26F678}" srcOrd="0" destOrd="0" presId="urn:microsoft.com/office/officeart/2005/8/layout/cycle2"/>
    <dgm:cxn modelId="{482F8F60-3410-4070-BB4E-18831FF1F8AD}" type="presParOf" srcId="{4DB725C9-095C-4458-A066-52D212287C15}" destId="{F70D0FC3-1166-4844-B5EC-078FB0590090}" srcOrd="1" destOrd="0" presId="urn:microsoft.com/office/officeart/2005/8/layout/cycle2"/>
    <dgm:cxn modelId="{5801616F-F3F2-4E88-8E43-6E76B3DC2056}" type="presParOf" srcId="{F70D0FC3-1166-4844-B5EC-078FB0590090}" destId="{CC104764-B7EB-44EB-9920-A7435C0CBE20}" srcOrd="0" destOrd="0" presId="urn:microsoft.com/office/officeart/2005/8/layout/cycle2"/>
    <dgm:cxn modelId="{C9A0C731-B595-4A10-957B-086B80752C0D}" type="presParOf" srcId="{4DB725C9-095C-4458-A066-52D212287C15}" destId="{E1827120-190F-416E-AC6B-1E8C3D5E8FC8}" srcOrd="2" destOrd="0" presId="urn:microsoft.com/office/officeart/2005/8/layout/cycle2"/>
    <dgm:cxn modelId="{44F11867-DEB0-4DCC-9A51-ECCF149BF01E}" type="presParOf" srcId="{4DB725C9-095C-4458-A066-52D212287C15}" destId="{BA901AC8-6200-4214-B755-710267473253}" srcOrd="3" destOrd="0" presId="urn:microsoft.com/office/officeart/2005/8/layout/cycle2"/>
    <dgm:cxn modelId="{97DF2C97-9E94-49ED-9433-0D748AA31B71}" type="presParOf" srcId="{BA901AC8-6200-4214-B755-710267473253}" destId="{A46C0FEB-6C72-4822-93EB-E9E7D09A2824}" srcOrd="0" destOrd="0" presId="urn:microsoft.com/office/officeart/2005/8/layout/cycle2"/>
    <dgm:cxn modelId="{C202E493-9B2B-411D-B423-53DBFF603B37}" type="presParOf" srcId="{4DB725C9-095C-4458-A066-52D212287C15}" destId="{0515C738-B209-478F-AAE6-1A6E2727ECB0}" srcOrd="4" destOrd="0" presId="urn:microsoft.com/office/officeart/2005/8/layout/cycle2"/>
    <dgm:cxn modelId="{41597308-1EF5-4E21-8040-A2A65EAC08EA}" type="presParOf" srcId="{4DB725C9-095C-4458-A066-52D212287C15}" destId="{2EBFC757-300C-4C25-B22F-48079F9F40BF}" srcOrd="5" destOrd="0" presId="urn:microsoft.com/office/officeart/2005/8/layout/cycle2"/>
    <dgm:cxn modelId="{AAC09F17-4B30-4271-AF1F-61FC5D0AD8D3}" type="presParOf" srcId="{2EBFC757-300C-4C25-B22F-48079F9F40BF}" destId="{EDCC4B48-D5A1-4E3E-AD39-B245E500180A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65245C-25B3-4BC5-B483-B969DD26F678}">
      <dsp:nvSpPr>
        <dsp:cNvPr id="0" name=""/>
        <dsp:cNvSpPr/>
      </dsp:nvSpPr>
      <dsp:spPr>
        <a:xfrm>
          <a:off x="3360704" y="650"/>
          <a:ext cx="2073173" cy="1386274"/>
        </a:xfrm>
        <a:prstGeom prst="ellipse">
          <a:avLst/>
        </a:prstGeom>
        <a:solidFill>
          <a:srgbClr val="E38DB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ученик</a:t>
          </a:r>
          <a:endParaRPr lang="ru-RU" sz="2400" b="1" kern="1200" dirty="0"/>
        </a:p>
      </dsp:txBody>
      <dsp:txXfrm>
        <a:off x="3664313" y="203665"/>
        <a:ext cx="1465955" cy="980244"/>
      </dsp:txXfrm>
    </dsp:sp>
    <dsp:sp modelId="{F70D0FC3-1166-4844-B5EC-078FB0590090}">
      <dsp:nvSpPr>
        <dsp:cNvPr id="0" name=""/>
        <dsp:cNvSpPr/>
      </dsp:nvSpPr>
      <dsp:spPr>
        <a:xfrm rot="2058824">
          <a:off x="5317509" y="1347723"/>
          <a:ext cx="761360" cy="46786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100" kern="1200"/>
        </a:p>
      </dsp:txBody>
      <dsp:txXfrm>
        <a:off x="5329723" y="1401734"/>
        <a:ext cx="621000" cy="280721"/>
      </dsp:txXfrm>
    </dsp:sp>
    <dsp:sp modelId="{E1827120-190F-416E-AC6B-1E8C3D5E8FC8}">
      <dsp:nvSpPr>
        <dsp:cNvPr id="0" name=""/>
        <dsp:cNvSpPr/>
      </dsp:nvSpPr>
      <dsp:spPr>
        <a:xfrm>
          <a:off x="5982217" y="1806185"/>
          <a:ext cx="2121055" cy="1386274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учитель</a:t>
          </a:r>
          <a:endParaRPr lang="ru-RU" sz="2400" b="1" kern="1200" dirty="0"/>
        </a:p>
      </dsp:txBody>
      <dsp:txXfrm>
        <a:off x="6292838" y="2009200"/>
        <a:ext cx="1499813" cy="980244"/>
      </dsp:txXfrm>
    </dsp:sp>
    <dsp:sp modelId="{BA901AC8-6200-4214-B755-710267473253}">
      <dsp:nvSpPr>
        <dsp:cNvPr id="0" name=""/>
        <dsp:cNvSpPr/>
      </dsp:nvSpPr>
      <dsp:spPr>
        <a:xfrm rot="10800013">
          <a:off x="3667231" y="2959054"/>
          <a:ext cx="1626967" cy="46786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100" kern="1200"/>
        </a:p>
      </dsp:txBody>
      <dsp:txXfrm rot="10800000">
        <a:off x="3807591" y="3052627"/>
        <a:ext cx="1486607" cy="280721"/>
      </dsp:txXfrm>
    </dsp:sp>
    <dsp:sp modelId="{0515C738-B209-478F-AAE6-1A6E2727ECB0}">
      <dsp:nvSpPr>
        <dsp:cNvPr id="0" name=""/>
        <dsp:cNvSpPr/>
      </dsp:nvSpPr>
      <dsp:spPr>
        <a:xfrm>
          <a:off x="540205" y="1806166"/>
          <a:ext cx="2372262" cy="1386274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родитель</a:t>
          </a:r>
          <a:endParaRPr lang="ru-RU" sz="2400" b="1" kern="1200" dirty="0"/>
        </a:p>
      </dsp:txBody>
      <dsp:txXfrm>
        <a:off x="887615" y="2009181"/>
        <a:ext cx="1677442" cy="980244"/>
      </dsp:txXfrm>
    </dsp:sp>
    <dsp:sp modelId="{2EBFC757-300C-4C25-B22F-48079F9F40BF}">
      <dsp:nvSpPr>
        <dsp:cNvPr id="0" name=""/>
        <dsp:cNvSpPr/>
      </dsp:nvSpPr>
      <dsp:spPr>
        <a:xfrm rot="19556522">
          <a:off x="2694635" y="1358644"/>
          <a:ext cx="746095" cy="46786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100" kern="1200"/>
        </a:p>
      </dsp:txBody>
      <dsp:txXfrm>
        <a:off x="2706673" y="1491520"/>
        <a:ext cx="605735" cy="2807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4538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3978"/>
            <a:ext cx="5792746" cy="1229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6569"/>
            <a:ext cx="539268" cy="184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6" y="110917"/>
            <a:ext cx="65" cy="12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4530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199870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3347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Last Modified 12.30.2014 4:54 PM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2.5.2014 2:43 AM Russia TZ 2 Standard Time</a:t>
            </a:r>
            <a:endParaRPr lang="ru-RU" sz="900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80319761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0265713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90413270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3912328"/>
      </p:ext>
    </p:extLst>
  </p:cSld>
  <p:clrMapOvr>
    <a:masterClrMapping/>
  </p:clrMapOvr>
  <p:transition advClick="0" advTm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1812248"/>
      </p:ext>
    </p:extLst>
  </p:cSld>
  <p:clrMapOvr>
    <a:masterClrMapping/>
  </p:clrMapOvr>
  <p:transition advClick="0" advTm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332688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07179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32455720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0759706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8464003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290291"/>
      </p:ext>
    </p:extLst>
  </p:cSld>
  <p:clrMapOvr>
    <a:masterClrMapping/>
  </p:clrMapOvr>
  <p:transition advClick="0" advTm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5492648"/>
      </p:ext>
    </p:extLst>
  </p:cSld>
  <p:clrMapOvr>
    <a:masterClrMapping/>
  </p:clrMapOvr>
  <p:transition advClick="0" advTm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97731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0247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05187756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423818527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303546399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4118051"/>
      </p:ext>
    </p:extLst>
  </p:cSld>
  <p:clrMapOvr>
    <a:masterClrMapping/>
  </p:clrMapOvr>
  <p:transition advClick="0" advTm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589081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4336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83354724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818668475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4881408"/>
      </p:ext>
    </p:extLst>
  </p:cSld>
  <p:clrMapOvr>
    <a:masterClrMapping/>
  </p:clrMapOvr>
  <p:transition advClick="0" advTm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65725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6384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379685687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967144830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0112425"/>
      </p:ext>
    </p:extLst>
  </p:cSld>
  <p:clrMapOvr>
    <a:masterClrMapping/>
  </p:clrMapOvr>
  <p:transition advClick="0" advTm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77429134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1984830"/>
      </p:ext>
    </p:extLst>
  </p:cSld>
  <p:clrMapOvr>
    <a:masterClrMapping/>
  </p:clrMapOvr>
  <p:transition advClick="0" advTm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958973089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186732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09781" y="2077143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44343112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766078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8432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76331817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142108928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6586702"/>
      </p:ext>
    </p:extLst>
  </p:cSld>
  <p:clrMapOvr>
    <a:masterClrMapping/>
  </p:clrMapOvr>
  <p:transition advClick="0" advTm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29269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0480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73077885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909006001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358431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5466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79777358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259781240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1991825"/>
      </p:ext>
    </p:extLst>
  </p:cSld>
  <p:clrMapOvr>
    <a:masterClrMapping/>
  </p:clrMapOvr>
  <p:transition advClick="0" advTm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8752100"/>
      </p:ext>
    </p:extLst>
  </p:cSld>
  <p:clrMapOvr>
    <a:masterClrMapping/>
  </p:clrMapOvr>
  <p:transition advClick="0" advTm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8534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49396337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1107959653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888157654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3284879"/>
      </p:ext>
    </p:extLst>
  </p:cSld>
  <p:clrMapOvr>
    <a:masterClrMapping/>
  </p:clrMapOvr>
  <p:transition advClick="0" advTm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3530832"/>
      </p:ext>
    </p:extLst>
  </p:cSld>
  <p:clrMapOvr>
    <a:masterClrMapping/>
  </p:clrMapOvr>
  <p:transition advClick="0" advTm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2965354"/>
      </p:ext>
    </p:extLst>
  </p:cSld>
  <p:clrMapOvr>
    <a:masterClrMapping/>
  </p:clrMapOvr>
  <p:transition advClick="0" advTm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7757132"/>
      </p:ext>
    </p:extLst>
  </p:cSld>
  <p:clrMapOvr>
    <a:masterClrMapping/>
  </p:clrMapOvr>
  <p:transition advClick="0" advTm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27377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2060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021896751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321855756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53297064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04107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4239492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22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21.vml"/><Relationship Id="rId5" Type="http://schemas.openxmlformats.org/officeDocument/2006/relationships/theme" Target="../theme/theme1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slideLayout" Target="../slideLayouts/slideLayout41.xml"/><Relationship Id="rId7" Type="http://schemas.openxmlformats.org/officeDocument/2006/relationships/tags" Target="../tags/tag2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vmlDrawing" Target="../drawings/vmlDrawing23.vml"/><Relationship Id="rId5" Type="http://schemas.openxmlformats.org/officeDocument/2006/relationships/theme" Target="../theme/theme1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5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1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6.xml"/><Relationship Id="rId9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4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7.xml"/><Relationship Id="rId9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27.xml"/><Relationship Id="rId7" Type="http://schemas.openxmlformats.org/officeDocument/2006/relationships/vmlDrawing" Target="../drawings/vmlDrawing15.v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8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8.xml"/><Relationship Id="rId9" Type="http://schemas.openxmlformats.org/officeDocument/2006/relationships/oleObject" Target="../embeddings/oleObject1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2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9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2970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Last Modified 12.30.2014 4:54 PM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2.5.2014 2:43 AM Russia TZ 2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16039938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9456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2919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18794025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4442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1632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10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53057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42672295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5708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3658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2" r:id="rId3"/>
    <p:sldLayoutId id="2147483673" r:id="rId4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11543284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1036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0980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3667695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3083" name="think-cell Slide" r:id="rId9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325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12883476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155" name="think-cell Slide" r:id="rId9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773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38420648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9223" name="think-cell Slide" r:id="rId7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425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4" r:id="rId3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37907414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3312" name="think-cell Slide" r:id="rId7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7709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19267600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360" name="think-cell Slide" r:id="rId9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9294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9016088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7408" name="think-cell Slide" r:id="rId7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9971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transition advClick="0" advTm="0"/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microsoft.com/office/2007/relationships/diagramDrawing" Target="../diagrams/drawing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9.pn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6.png"/><Relationship Id="rId4" Type="http://schemas.openxmlformats.org/officeDocument/2006/relationships/oleObject" Target="../embeddings/oleObject25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-3926"/>
            <a:ext cx="6681176" cy="830997"/>
          </a:xfrm>
        </p:spPr>
        <p:txBody>
          <a:bodyPr/>
          <a:lstStyle/>
          <a:p>
            <a:pPr algn="ctr"/>
            <a:r>
              <a:rPr lang="ru-RU" sz="18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муниципальное </a:t>
            </a:r>
            <a:r>
              <a:rPr lang="ru-RU" sz="18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бюджетное </a:t>
            </a:r>
            <a:r>
              <a:rPr lang="ru-RU" sz="18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бщеобразовательное </a:t>
            </a:r>
            <a:r>
              <a:rPr lang="ru-RU" sz="18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учреждение </a:t>
            </a:r>
            <a:r>
              <a:rPr lang="ru-RU" sz="1800" b="0" dirty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1800" b="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18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средняя школа №21 г. Волгодонска</a:t>
            </a:r>
            <a:endParaRPr lang="ru-RU" sz="18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541773" y="4181753"/>
            <a:ext cx="6077528" cy="57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endParaRPr lang="ru-RU" sz="2400" b="1" dirty="0">
              <a:solidFill>
                <a:srgbClr val="3333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4274" y="1130300"/>
            <a:ext cx="87286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/>
              <a:t>Реализация  проекта</a:t>
            </a:r>
            <a:endParaRPr lang="ru-RU" sz="2800" dirty="0" smtClean="0"/>
          </a:p>
          <a:p>
            <a:pPr algn="ctr"/>
            <a:r>
              <a:rPr lang="ru-RU" sz="2800" b="1" dirty="0" smtClean="0"/>
              <a:t>«Оптимизация процесса взаимодействия участников образовательных отношений»</a:t>
            </a:r>
            <a:endParaRPr lang="ru-RU" sz="2800" dirty="0" smtClean="0"/>
          </a:p>
          <a:p>
            <a:pPr algn="ctr"/>
            <a:endParaRPr lang="ru-RU" sz="2800" dirty="0" smtClean="0"/>
          </a:p>
        </p:txBody>
      </p:sp>
      <p:pic>
        <p:nvPicPr>
          <p:cNvPr id="9" name="Рисунок 8" descr="Климовская Елена Александровна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0975" y="2639814"/>
            <a:ext cx="3604125" cy="328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355609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7"/>
            <a:ext cx="6681176" cy="369332"/>
          </a:xfrm>
        </p:spPr>
        <p:txBody>
          <a:bodyPr/>
          <a:lstStyle/>
          <a:p>
            <a:r>
              <a:rPr lang="ru-RU" sz="2400" dirty="0" smtClean="0"/>
              <a:t>Мониторинг достигнутых результатов</a:t>
            </a:r>
            <a:endParaRPr lang="ru-RU" sz="240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138551037"/>
              </p:ext>
            </p:extLst>
          </p:nvPr>
        </p:nvGraphicFramePr>
        <p:xfrm>
          <a:off x="115083" y="845568"/>
          <a:ext cx="8619484" cy="5514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750627" y="3753134"/>
            <a:ext cx="4722125" cy="40943"/>
          </a:xfrm>
          <a:prstGeom prst="line">
            <a:avLst/>
          </a:prstGeom>
          <a:ln w="254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6131031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7"/>
            <a:ext cx="6681176" cy="369332"/>
          </a:xfrm>
        </p:spPr>
        <p:txBody>
          <a:bodyPr/>
          <a:lstStyle/>
          <a:p>
            <a:r>
              <a:rPr lang="ru-RU" sz="2400" dirty="0" smtClean="0"/>
              <a:t>Мониторинг достигнутых результатов</a:t>
            </a:r>
            <a:endParaRPr lang="ru-RU" sz="24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34047937"/>
              </p:ext>
            </p:extLst>
          </p:nvPr>
        </p:nvGraphicFramePr>
        <p:xfrm>
          <a:off x="224331" y="1041761"/>
          <a:ext cx="8523885" cy="5303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62694"/>
                <a:gridCol w="1582766"/>
                <a:gridCol w="1378425"/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Действие</a:t>
                      </a:r>
                      <a:endParaRPr lang="ru-RU" sz="2400" b="1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Было</a:t>
                      </a:r>
                      <a:endParaRPr lang="ru-RU" sz="2400" b="1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b="1" dirty="0" smtClean="0"/>
                        <a:t>Стало</a:t>
                      </a:r>
                      <a:endParaRPr lang="ru-RU" sz="2400" b="1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Поиск БЖ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26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0	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Заполнение БЖ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46	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0	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Заполнение ЭЖ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33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30	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Мониторинг посещаемости и успеваемости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24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4	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Работа с дневниками учителем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32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17	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Заполнение дневника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12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12	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Информирование родителей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14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3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Получение информации о текущем состоянии успеваемости 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2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Всего (среднее значение)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195 мин</a:t>
                      </a: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68 мин</a:t>
                      </a:r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  <a:lumOff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4379765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61189"/>
            <a:ext cx="6681176" cy="430887"/>
          </a:xfrm>
        </p:spPr>
        <p:txBody>
          <a:bodyPr/>
          <a:lstStyle/>
          <a:p>
            <a:r>
              <a:rPr lang="ru-RU" sz="2800" dirty="0" smtClean="0"/>
              <a:t>Мнение заказчиков</a:t>
            </a:r>
            <a:endParaRPr lang="ru-RU" sz="2800" dirty="0"/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xmlns="" val="1165747651"/>
              </p:ext>
            </p:extLst>
          </p:nvPr>
        </p:nvGraphicFramePr>
        <p:xfrm>
          <a:off x="1211651" y="3576572"/>
          <a:ext cx="6701425" cy="31265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65603272"/>
              </p:ext>
            </p:extLst>
          </p:nvPr>
        </p:nvGraphicFramePr>
        <p:xfrm>
          <a:off x="300625" y="921056"/>
          <a:ext cx="8472837" cy="2543747"/>
        </p:xfrm>
        <a:graphic>
          <a:graphicData uri="http://schemas.openxmlformats.org/drawingml/2006/table">
            <a:tbl>
              <a:tblPr firstRow="1" firstCol="1" bandRow="1"/>
              <a:tblGrid>
                <a:gridCol w="5661764"/>
                <a:gridCol w="588723"/>
                <a:gridCol w="1653436"/>
                <a:gridCol w="568914"/>
              </a:tblGrid>
              <a:tr h="228639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прос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реднее значение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86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т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трудняюсь ответить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2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вляется ли длительность процесса для вас оптимальной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3%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%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%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27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довлетворены </a:t>
                      </a:r>
                      <a:r>
                        <a:rPr lang="ru-RU" sz="1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 Вы в </a:t>
                      </a:r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целом процессом взаимодействия участников образовательных отношений</a:t>
                      </a:r>
                      <a:endParaRPr lang="ru-RU" sz="18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%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%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%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9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вляется ли процесс для Вас понятным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%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%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2%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46" marR="491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174770" y="2477655"/>
            <a:ext cx="89614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514764" y="241774"/>
            <a:ext cx="610523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2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</a:rPr>
              <a:t>Проблема!</a:t>
            </a:r>
            <a:endParaRPr kumimoji="0" lang="ru-RU" altLang="ru-RU" sz="2800" b="1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latin typeface="+mj-lt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1001121"/>
            <a:ext cx="8559797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lvl="0" indent="-285750" eaLnBrk="0" hangingPunct="0">
              <a:buFont typeface="Arial" pitchFamily="34" charset="0"/>
              <a:buChar char="•"/>
            </a:pPr>
            <a:r>
              <a:rPr lang="ru-RU" altLang="ru-RU" sz="24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Ожидание получения информации  учащимися и родителями о состоянии текущей успеваемости, неудовлетворенность родителей  уровнем прозрачности информации о состоянии текущей успеваемости учащихся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xmlns="" val="1434106852"/>
              </p:ext>
            </p:extLst>
          </p:nvPr>
        </p:nvGraphicFramePr>
        <p:xfrm>
          <a:off x="174770" y="2934855"/>
          <a:ext cx="8668979" cy="3192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67267" name="Picture 3" descr="C:\Users\юрий\Desktop\Новая папка (20)\43567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73289" y="4238899"/>
            <a:ext cx="1764400" cy="1769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717519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174770" y="2477655"/>
            <a:ext cx="89614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514764" y="241774"/>
            <a:ext cx="610523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2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</a:rPr>
              <a:t>Проблема!</a:t>
            </a:r>
            <a:endParaRPr kumimoji="0" lang="ru-RU" altLang="ru-RU" sz="2800" b="1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latin typeface="+mj-lt"/>
            </a:endParaRPr>
          </a:p>
        </p:txBody>
      </p:sp>
      <p:pic>
        <p:nvPicPr>
          <p:cNvPr id="26624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6939" t="24456" r="5598" b="32022"/>
          <a:stretch/>
        </p:blipFill>
        <p:spPr bwMode="auto">
          <a:xfrm>
            <a:off x="2183642" y="1795922"/>
            <a:ext cx="3304083" cy="1697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968688"/>
            <a:ext cx="855979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lvl="0" indent="-285750" eaLnBrk="0" hangingPunct="0">
              <a:buFont typeface="Arial" pitchFamily="34" charset="0"/>
              <a:buChar char="•"/>
            </a:pPr>
            <a:r>
              <a:rPr lang="ru-RU" altLang="ru-RU" sz="24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Ведение двойной документации, нерациональное использование рабочего времени педагога</a:t>
            </a:r>
          </a:p>
        </p:txBody>
      </p:sp>
      <p:pic>
        <p:nvPicPr>
          <p:cNvPr id="26624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545" r="18270"/>
          <a:stretch/>
        </p:blipFill>
        <p:spPr bwMode="auto">
          <a:xfrm>
            <a:off x="268718" y="3579253"/>
            <a:ext cx="1887491" cy="2662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4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31735" y="3966325"/>
            <a:ext cx="3834440" cy="2275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7563706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174770" y="2477655"/>
            <a:ext cx="89614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514764" y="241774"/>
            <a:ext cx="610523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28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</a:rPr>
              <a:t>Проблема!</a:t>
            </a:r>
            <a:endParaRPr kumimoji="0" lang="ru-RU" altLang="ru-RU" sz="2800" b="1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latin typeface="+mj-lt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954616"/>
            <a:ext cx="855979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lvl="0" indent="-285750" eaLnBrk="0" hangingPunct="0">
              <a:buFont typeface="Arial" pitchFamily="34" charset="0"/>
              <a:buChar char="•"/>
            </a:pPr>
            <a:r>
              <a:rPr lang="ru-RU" altLang="ru-RU" sz="24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</a:rPr>
              <a:t>Нарушение взаимодействия между участниками образовательного процесса</a:t>
            </a:r>
          </a:p>
        </p:txBody>
      </p:sp>
      <p:pic>
        <p:nvPicPr>
          <p:cNvPr id="268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36577" y="2477655"/>
            <a:ext cx="6286642" cy="3750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4176936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060" y="211067"/>
            <a:ext cx="7209540" cy="430887"/>
          </a:xfrm>
        </p:spPr>
        <p:txBody>
          <a:bodyPr/>
          <a:lstStyle/>
          <a:p>
            <a:pPr algn="ctr"/>
            <a:r>
              <a:rPr lang="ru-RU" sz="28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Карточка ПСР-проекта </a:t>
            </a:r>
            <a:endParaRPr lang="en-US" sz="28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64206" name="Picture 14" descr="H:\Морозова\Программа развития\ПСР\Скан карточки проекта ПСР МБОУ СШ _ 21 г.Волгодонска.JPG"/>
          <p:cNvPicPr>
            <a:picLocks noChangeAspect="1" noChangeArrowheads="1"/>
          </p:cNvPicPr>
          <p:nvPr/>
        </p:nvPicPr>
        <p:blipFill>
          <a:blip r:embed="rId3" cstate="print"/>
          <a:srcRect l="4838" t="9600" r="8079"/>
          <a:stretch>
            <a:fillRect/>
          </a:stretch>
        </p:blipFill>
        <p:spPr bwMode="auto">
          <a:xfrm>
            <a:off x="647700" y="952500"/>
            <a:ext cx="7772400" cy="570482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7872592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27498929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5314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0531" y="249559"/>
            <a:ext cx="6916189" cy="40241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24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Команда проекта</a:t>
            </a:r>
            <a:endParaRPr lang="ru-RU" sz="24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8" name="Rectangle 67"/>
          <p:cNvSpPr>
            <a:spLocks/>
          </p:cNvSpPr>
          <p:nvPr/>
        </p:nvSpPr>
        <p:spPr>
          <a:xfrm>
            <a:off x="128589" y="994714"/>
            <a:ext cx="8704262" cy="524397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57" name="Rectangle 53"/>
          <p:cNvSpPr txBox="1"/>
          <p:nvPr/>
        </p:nvSpPr>
        <p:spPr>
          <a:xfrm>
            <a:off x="2837758" y="5256520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8" name="Rectangle 53"/>
          <p:cNvSpPr txBox="1"/>
          <p:nvPr/>
        </p:nvSpPr>
        <p:spPr>
          <a:xfrm>
            <a:off x="6503544" y="5303387"/>
            <a:ext cx="1831727" cy="55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28589" y="1151651"/>
            <a:ext cx="4566241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800" b="1" dirty="0" err="1" smtClean="0"/>
              <a:t>Климовская</a:t>
            </a:r>
            <a:r>
              <a:rPr lang="ru-RU" sz="1800" b="1" dirty="0" smtClean="0"/>
              <a:t> Елена Александровна–</a:t>
            </a:r>
          </a:p>
          <a:p>
            <a:r>
              <a:rPr lang="ru-RU" sz="1800" dirty="0" smtClean="0"/>
              <a:t>директор </a:t>
            </a:r>
            <a:r>
              <a:rPr lang="ru-RU" sz="1800" dirty="0"/>
              <a:t>МБОУ СШ№21 </a:t>
            </a:r>
            <a:r>
              <a:rPr lang="ru-RU" sz="1800" dirty="0" err="1" smtClean="0"/>
              <a:t>г.Волгодонска</a:t>
            </a:r>
            <a:endParaRPr lang="ru-RU" sz="1800" dirty="0" smtClean="0"/>
          </a:p>
          <a:p>
            <a:endParaRPr lang="ru-RU" sz="1800" dirty="0" smtClean="0"/>
          </a:p>
          <a:p>
            <a:pPr marL="171450" indent="-171450">
              <a:buClr>
                <a:srgbClr val="002960"/>
              </a:buClr>
              <a:buFont typeface="Arial" pitchFamily="34" charset="0"/>
              <a:buChar char="•"/>
            </a:pPr>
            <a:r>
              <a:rPr lang="ru-RU" sz="1800" b="1" dirty="0" err="1">
                <a:solidFill>
                  <a:srgbClr val="000000"/>
                </a:solidFill>
              </a:rPr>
              <a:t>Шеламова</a:t>
            </a:r>
            <a:r>
              <a:rPr lang="ru-RU" sz="1800" b="1" dirty="0">
                <a:solidFill>
                  <a:srgbClr val="000000"/>
                </a:solidFill>
              </a:rPr>
              <a:t> Елена Станиславовна-</a:t>
            </a:r>
          </a:p>
          <a:p>
            <a:pPr>
              <a:buClr>
                <a:srgbClr val="002960"/>
              </a:buClr>
            </a:pPr>
            <a:r>
              <a:rPr lang="ru-RU" sz="1800" dirty="0">
                <a:solidFill>
                  <a:srgbClr val="000000"/>
                </a:solidFill>
              </a:rPr>
              <a:t>заместитель директора по </a:t>
            </a:r>
            <a:r>
              <a:rPr lang="ru-RU" sz="1800" dirty="0" smtClean="0">
                <a:solidFill>
                  <a:srgbClr val="000000"/>
                </a:solidFill>
              </a:rPr>
              <a:t>УВР</a:t>
            </a:r>
          </a:p>
          <a:p>
            <a:pPr>
              <a:buClr>
                <a:srgbClr val="002960"/>
              </a:buClr>
            </a:pPr>
            <a:endParaRPr lang="ru-RU" sz="18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002960"/>
              </a:buClr>
              <a:buFont typeface="Arial" pitchFamily="34" charset="0"/>
              <a:buChar char="•"/>
            </a:pPr>
            <a:r>
              <a:rPr lang="ru-RU" sz="1800" b="1" dirty="0">
                <a:solidFill>
                  <a:srgbClr val="000000"/>
                </a:solidFill>
              </a:rPr>
              <a:t>Бокова Ольга Владимировна -</a:t>
            </a:r>
          </a:p>
          <a:p>
            <a:pPr>
              <a:buClr>
                <a:srgbClr val="002960"/>
              </a:buClr>
            </a:pPr>
            <a:r>
              <a:rPr lang="ru-RU" sz="1800" dirty="0">
                <a:solidFill>
                  <a:srgbClr val="000000"/>
                </a:solidFill>
              </a:rPr>
              <a:t>заместитель директора по </a:t>
            </a:r>
            <a:r>
              <a:rPr lang="ru-RU" sz="1800" dirty="0" smtClean="0">
                <a:solidFill>
                  <a:srgbClr val="000000"/>
                </a:solidFill>
              </a:rPr>
              <a:t>ВР</a:t>
            </a:r>
          </a:p>
          <a:p>
            <a:pPr>
              <a:buClr>
                <a:srgbClr val="002960"/>
              </a:buClr>
            </a:pPr>
            <a:endParaRPr lang="ru-RU" sz="1800" dirty="0" smtClean="0">
              <a:solidFill>
                <a:srgbClr val="000000"/>
              </a:solidFill>
            </a:endParaRPr>
          </a:p>
          <a:p>
            <a:pPr marL="171450" indent="-171450">
              <a:buClr>
                <a:srgbClr val="002960"/>
              </a:buClr>
              <a:buFont typeface="Arial" pitchFamily="34" charset="0"/>
              <a:buChar char="•"/>
            </a:pPr>
            <a:r>
              <a:rPr lang="ru-RU" sz="1800" b="1" dirty="0" err="1">
                <a:solidFill>
                  <a:srgbClr val="000000"/>
                </a:solidFill>
                <a:ea typeface="Calibri" panose="020F0502020204030204" pitchFamily="34" charset="0"/>
              </a:rPr>
              <a:t>Белогаева</a:t>
            </a:r>
            <a:r>
              <a:rPr lang="ru-RU" sz="1800" b="1" dirty="0">
                <a:solidFill>
                  <a:srgbClr val="000000"/>
                </a:solidFill>
                <a:ea typeface="Calibri" panose="020F0502020204030204" pitchFamily="34" charset="0"/>
              </a:rPr>
              <a:t> Елена Петровна– </a:t>
            </a:r>
            <a:endParaRPr lang="ru-RU" sz="180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>
              <a:buClr>
                <a:srgbClr val="002960"/>
              </a:buClr>
            </a:pPr>
            <a:r>
              <a:rPr lang="ru-RU" sz="1800" dirty="0">
                <a:solidFill>
                  <a:srgbClr val="000000"/>
                </a:solidFill>
              </a:rPr>
              <a:t>заместитель директора по </a:t>
            </a:r>
            <a:r>
              <a:rPr lang="ru-RU" sz="1800" dirty="0" smtClean="0">
                <a:solidFill>
                  <a:srgbClr val="000000"/>
                </a:solidFill>
              </a:rPr>
              <a:t>УВР</a:t>
            </a:r>
          </a:p>
          <a:p>
            <a:pPr marL="171450" indent="-171450">
              <a:buClr>
                <a:srgbClr val="002960"/>
              </a:buClr>
              <a:buFont typeface="Arial" pitchFamily="34" charset="0"/>
              <a:buChar char="•"/>
            </a:pPr>
            <a:endParaRPr lang="ru-RU" sz="1800" b="1" dirty="0" smtClean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marL="171450" indent="-171450">
              <a:buClr>
                <a:srgbClr val="002960"/>
              </a:buClr>
              <a:buFont typeface="Arial" pitchFamily="34" charset="0"/>
              <a:buChar char="•"/>
            </a:pPr>
            <a:r>
              <a:rPr lang="ru-RU" sz="1800" b="1" dirty="0" smtClean="0">
                <a:solidFill>
                  <a:srgbClr val="000000"/>
                </a:solidFill>
                <a:ea typeface="Calibri" panose="020F0502020204030204" pitchFamily="34" charset="0"/>
              </a:rPr>
              <a:t>Морозова </a:t>
            </a:r>
            <a:r>
              <a:rPr lang="ru-RU" sz="1800" b="1" dirty="0">
                <a:solidFill>
                  <a:srgbClr val="000000"/>
                </a:solidFill>
                <a:ea typeface="Calibri" panose="020F0502020204030204" pitchFamily="34" charset="0"/>
              </a:rPr>
              <a:t>Олеся Анатольевна- </a:t>
            </a:r>
            <a:r>
              <a:rPr lang="ru-RU" sz="1800" dirty="0">
                <a:solidFill>
                  <a:srgbClr val="000000"/>
                </a:solidFill>
                <a:ea typeface="Calibri" panose="020F0502020204030204" pitchFamily="34" charset="0"/>
              </a:rPr>
              <a:t>заместитель директора по методической </a:t>
            </a:r>
            <a:r>
              <a:rPr lang="ru-RU" sz="1800" dirty="0" smtClean="0">
                <a:solidFill>
                  <a:srgbClr val="000000"/>
                </a:solidFill>
                <a:ea typeface="Calibri" panose="020F0502020204030204" pitchFamily="34" charset="0"/>
              </a:rPr>
              <a:t>работе</a:t>
            </a:r>
          </a:p>
          <a:p>
            <a:pPr marL="171450" indent="-171450">
              <a:buClr>
                <a:srgbClr val="002960"/>
              </a:buClr>
              <a:buFont typeface="Arial" pitchFamily="34" charset="0"/>
              <a:buChar char="•"/>
            </a:pPr>
            <a:endParaRPr lang="ru-RU" sz="1800" b="1" dirty="0" smtClean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marL="171450" indent="-171450">
              <a:buClr>
                <a:srgbClr val="002960"/>
              </a:buClr>
              <a:buFont typeface="Arial" pitchFamily="34" charset="0"/>
              <a:buChar char="•"/>
            </a:pPr>
            <a:r>
              <a:rPr lang="ru-RU" sz="1800" b="1" dirty="0" smtClean="0">
                <a:solidFill>
                  <a:srgbClr val="000000"/>
                </a:solidFill>
                <a:ea typeface="Calibri" panose="020F0502020204030204" pitchFamily="34" charset="0"/>
              </a:rPr>
              <a:t>Коренец </a:t>
            </a:r>
            <a:r>
              <a:rPr lang="ru-RU" sz="1800" b="1" dirty="0">
                <a:solidFill>
                  <a:srgbClr val="000000"/>
                </a:solidFill>
                <a:ea typeface="Calibri" panose="020F0502020204030204" pitchFamily="34" charset="0"/>
              </a:rPr>
              <a:t>Ирина Алексеевна- </a:t>
            </a:r>
          </a:p>
          <a:p>
            <a:pPr>
              <a:buClr>
                <a:srgbClr val="002960"/>
              </a:buClr>
            </a:pPr>
            <a:r>
              <a:rPr lang="ru-RU" sz="1800" dirty="0">
                <a:solidFill>
                  <a:srgbClr val="000000"/>
                </a:solidFill>
                <a:ea typeface="Calibri" panose="020F0502020204030204" pitchFamily="34" charset="0"/>
              </a:rPr>
              <a:t>учитель математики</a:t>
            </a:r>
            <a:endParaRPr lang="ru-RU" sz="1800" b="1" dirty="0">
              <a:solidFill>
                <a:srgbClr val="000000"/>
              </a:solidFill>
            </a:endParaRPr>
          </a:p>
          <a:p>
            <a:pPr algn="ctr">
              <a:buClr>
                <a:srgbClr val="002960"/>
              </a:buClr>
            </a:pPr>
            <a:endParaRPr lang="ru-RU" sz="1800" b="1" dirty="0">
              <a:solidFill>
                <a:srgbClr val="000000"/>
              </a:solidFill>
            </a:endParaRPr>
          </a:p>
          <a:p>
            <a:pPr algn="ctr">
              <a:buClr>
                <a:srgbClr val="002960"/>
              </a:buClr>
            </a:pPr>
            <a:endParaRPr lang="ru-RU" sz="1800" dirty="0">
              <a:solidFill>
                <a:srgbClr val="000000"/>
              </a:solidFill>
            </a:endParaRPr>
          </a:p>
          <a:p>
            <a:pPr algn="ctr">
              <a:buClr>
                <a:srgbClr val="002960"/>
              </a:buClr>
            </a:pPr>
            <a:endParaRPr lang="ru-RU" sz="1800" dirty="0">
              <a:solidFill>
                <a:srgbClr val="000000"/>
              </a:solidFill>
            </a:endParaRPr>
          </a:p>
          <a:p>
            <a:pPr algn="ctr"/>
            <a:endParaRPr lang="ru-RU" sz="1800" dirty="0"/>
          </a:p>
        </p:txBody>
      </p:sp>
      <p:pic>
        <p:nvPicPr>
          <p:cNvPr id="253134" name="Picture 206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523" t="15774" r="33059" b="9519"/>
          <a:stretch/>
        </p:blipFill>
        <p:spPr bwMode="auto">
          <a:xfrm>
            <a:off x="4790364" y="1114819"/>
            <a:ext cx="4042487" cy="5398199"/>
          </a:xfrm>
          <a:prstGeom prst="rect">
            <a:avLst/>
          </a:prstGeom>
          <a:noFill/>
          <a:ln w="9525">
            <a:solidFill>
              <a:srgbClr val="3333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26158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81355" y="282528"/>
            <a:ext cx="7897090" cy="6924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4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План мероприятий по проекту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/>
            </a:r>
            <a:b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sz="12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 «Оптимизация процесса взаимодействия  участников  образовательных отношений»	 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/>
            </a:r>
            <a:b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endParaRPr lang="en-US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7713825"/>
              </p:ext>
            </p:extLst>
          </p:nvPr>
        </p:nvGraphicFramePr>
        <p:xfrm>
          <a:off x="87837" y="701483"/>
          <a:ext cx="8873601" cy="5723728"/>
        </p:xfrm>
        <a:graphic>
          <a:graphicData uri="http://schemas.openxmlformats.org/drawingml/2006/table">
            <a:tbl>
              <a:tblPr/>
              <a:tblGrid>
                <a:gridCol w="4679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82891">
                  <a:extLst>
                    <a:ext uri="{9D8B030D-6E8A-4147-A177-3AD203B41FA5}">
                      <a16:colId xmlns="" xmlns:a16="http://schemas.microsoft.com/office/drawing/2014/main" val="808978934"/>
                    </a:ext>
                  </a:extLst>
                </a:gridCol>
                <a:gridCol w="201556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766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9624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5940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82052">
                  <a:extLst>
                    <a:ext uri="{9D8B030D-6E8A-4147-A177-3AD203B41FA5}">
                      <a16:colId xmlns="" xmlns:a16="http://schemas.microsoft.com/office/drawing/2014/main" val="1508885865"/>
                    </a:ext>
                  </a:extLst>
                </a:gridCol>
                <a:gridCol w="182052">
                  <a:extLst>
                    <a:ext uri="{9D8B030D-6E8A-4147-A177-3AD203B41FA5}">
                      <a16:colId xmlns="" xmlns:a16="http://schemas.microsoft.com/office/drawing/2014/main" val="2840659936"/>
                    </a:ext>
                  </a:extLst>
                </a:gridCol>
                <a:gridCol w="182052">
                  <a:extLst>
                    <a:ext uri="{9D8B030D-6E8A-4147-A177-3AD203B41FA5}">
                      <a16:colId xmlns="" xmlns:a16="http://schemas.microsoft.com/office/drawing/2014/main" val="661748098"/>
                    </a:ext>
                  </a:extLst>
                </a:gridCol>
                <a:gridCol w="182052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182052"/>
                <a:gridCol w="182052"/>
                <a:gridCol w="182052"/>
                <a:gridCol w="182052"/>
                <a:gridCol w="182052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182052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182052">
                  <a:extLst>
                    <a:ext uri="{9D8B030D-6E8A-4147-A177-3AD203B41FA5}">
                      <a16:colId xmlns="" xmlns:a16="http://schemas.microsoft.com/office/drawing/2014/main" val="1565215737"/>
                    </a:ext>
                  </a:extLst>
                </a:gridCol>
                <a:gridCol w="182052">
                  <a:extLst>
                    <a:ext uri="{9D8B030D-6E8A-4147-A177-3AD203B41FA5}">
                      <a16:colId xmlns="" xmlns:a16="http://schemas.microsoft.com/office/drawing/2014/main" val="1531949072"/>
                    </a:ext>
                  </a:extLst>
                </a:gridCol>
                <a:gridCol w="182052">
                  <a:extLst>
                    <a:ext uri="{9D8B030D-6E8A-4147-A177-3AD203B41FA5}">
                      <a16:colId xmlns="" xmlns:a16="http://schemas.microsoft.com/office/drawing/2014/main" val="3428229015"/>
                    </a:ext>
                  </a:extLst>
                </a:gridCol>
                <a:gridCol w="182052">
                  <a:extLst>
                    <a:ext uri="{9D8B030D-6E8A-4147-A177-3AD203B41FA5}">
                      <a16:colId xmlns="" xmlns:a16="http://schemas.microsoft.com/office/drawing/2014/main" val="4163102497"/>
                    </a:ext>
                  </a:extLst>
                </a:gridCol>
                <a:gridCol w="182052"/>
                <a:gridCol w="182052"/>
                <a:gridCol w="439060">
                  <a:extLst>
                    <a:ext uri="{9D8B030D-6E8A-4147-A177-3AD203B41FA5}">
                      <a16:colId xmlns="" xmlns:a16="http://schemas.microsoft.com/office/drawing/2014/main" val="20020"/>
                    </a:ext>
                  </a:extLst>
                </a:gridCol>
                <a:gridCol w="511998">
                  <a:extLst>
                    <a:ext uri="{9D8B030D-6E8A-4147-A177-3AD203B41FA5}">
                      <a16:colId xmlns="" xmlns:a16="http://schemas.microsoft.com/office/drawing/2014/main" val="20021"/>
                    </a:ext>
                  </a:extLst>
                </a:gridCol>
              </a:tblGrid>
              <a:tr h="362310">
                <a:tc gridSpan="24">
                  <a:txBody>
                    <a:bodyPr/>
                    <a:lstStyle/>
                    <a:p>
                      <a:pPr algn="l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329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блем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т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Эфф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ветственны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6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ату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мечани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67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4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5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6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9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7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67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3508">
                <a:tc rowSpan="12">
                  <a:txBody>
                    <a:bodyPr/>
                    <a:lstStyle/>
                    <a:p>
                      <a:pPr marL="36000"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дение двойной документации, ожидание получения информации, нарушение взаимодействия между участниками образовательного процесса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иагностика и целевое состояние –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явление проблем и улучшен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Команда проект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02.04.19 - 21.05.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3508">
                <a:tc vMerge="1">
                  <a:txBody>
                    <a:bodyPr/>
                    <a:lstStyle/>
                    <a:p>
                      <a:pPr marL="36000" algn="l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Анализ текущего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состояния  по проек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явление пробле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Е.П.Белогаева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Е.С.Шеламова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О.А. Морозов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en-US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.04.19 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– 7.04.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11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defTabSz="91440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2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текущей карты процесса –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явление пробле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Е.П.Белогаева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Е.С.Шеламова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О.А. Морозова,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Бокова О.В.,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Коренец И.А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8.04.19 - 18.04.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888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целевой карты процесса –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явление улучшен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Е.П.Белогаева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Е.С.Шеламова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О.А. Морозова,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Бокова О.В.,</a:t>
                      </a:r>
                    </a:p>
                    <a:p>
                      <a:pPr algn="ctr"/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Коренец И.А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.04.19 - 21.05.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7575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defTabSz="91440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недрение улучшение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пределения путей  по введению улучшений для протекания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манда проекта, </a:t>
                      </a:r>
                      <a:r>
                        <a:rPr lang="ru-RU" sz="800" kern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л</a:t>
                      </a: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руководители, учител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6.08.19 – 04.11.19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6087">
                <a:tc vMerge="1">
                  <a:txBody>
                    <a:bodyPr/>
                    <a:lstStyle/>
                    <a:p>
                      <a:pPr marL="36000" algn="l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величение локальной сети интернет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лучшение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Е.В.Африди</a:t>
                      </a:r>
                      <a:endParaRPr lang="ru-RU" sz="80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Июль-август 2019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6087">
                <a:tc vMerge="1">
                  <a:txBody>
                    <a:bodyPr/>
                    <a:lstStyle/>
                    <a:p>
                      <a:pPr marL="36000" algn="l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defTabSz="91440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2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тандартизация процесса, разработка  Положения о ведении электронного журнала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.А. Коренец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6.08.19г.-02.09.19г.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6087">
                <a:tc vMerge="1">
                  <a:txBody>
                    <a:bodyPr/>
                    <a:lstStyle/>
                    <a:p>
                      <a:pPr marL="36000" algn="l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defTabSz="91440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3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ведение  электронного документооборота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Учителя- предметники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С 02.09.19г.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6087">
                <a:tc vMerge="1">
                  <a:txBody>
                    <a:bodyPr/>
                    <a:lstStyle/>
                    <a:p>
                      <a:pPr marL="36000" algn="l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defTabSz="914400" rtl="0" eaLnBrk="1" fontAlgn="ctr" latinLnBrk="0" hangingPunct="1"/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4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каз от ведения бумажных классных журналов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Е.П.Белогаева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Е.С.Шеламова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С 02.09.19г.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6087">
                <a:tc vMerge="1">
                  <a:txBody>
                    <a:bodyPr/>
                    <a:lstStyle/>
                    <a:p>
                      <a:pPr marL="36000" algn="l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ведение  </a:t>
                      </a:r>
                      <a:r>
                        <a:rPr lang="ru-RU" sz="8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м.директора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по ИКТ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Е.А. </a:t>
                      </a:r>
                      <a:r>
                        <a:rPr lang="ru-RU" sz="800" kern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лимовская</a:t>
                      </a:r>
                      <a:endParaRPr lang="ru-RU" sz="80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С 01.09.19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6087">
                <a:tc vMerge="1">
                  <a:txBody>
                    <a:bodyPr/>
                    <a:lstStyle/>
                    <a:p>
                      <a:pPr marL="36000" algn="l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ведение  электронного журнала, автоматизированной системы отслеживания образовательных  результатов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.А. Коренец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С 02.09.19г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333">
                <a:tc vMerge="1">
                  <a:txBody>
                    <a:bodyPr/>
                    <a:lstStyle/>
                    <a:p>
                      <a:pPr marL="36000" algn="l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Установка  мобильных приложений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Кл.руководители</a:t>
                      </a:r>
                      <a:r>
                        <a:rPr lang="ru-RU" sz="800" dirty="0" smtClean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, учителя предметники</a:t>
                      </a:r>
                      <a:endParaRPr lang="ru-RU" sz="800" dirty="0">
                        <a:effectLst/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2.09.19г.-30.09.19г</a:t>
                      </a:r>
                      <a:r>
                        <a:rPr lang="ru-RU" sz="800" dirty="0">
                          <a:effectLst/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7" name="Овал 86"/>
          <p:cNvSpPr/>
          <p:nvPr/>
        </p:nvSpPr>
        <p:spPr>
          <a:xfrm>
            <a:off x="831274" y="6425211"/>
            <a:ext cx="206802" cy="206802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88" name="Rectangle 2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31274" y="6425211"/>
            <a:ext cx="483061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        - Выполнено;                - В процессе выполнения;             - Запланировано                </a:t>
            </a:r>
            <a:endParaRPr lang="ru-RU" sz="1000" dirty="0"/>
          </a:p>
        </p:txBody>
      </p:sp>
      <p:sp>
        <p:nvSpPr>
          <p:cNvPr id="89" name="Овал 88"/>
          <p:cNvSpPr/>
          <p:nvPr/>
        </p:nvSpPr>
        <p:spPr>
          <a:xfrm>
            <a:off x="2129351" y="6425211"/>
            <a:ext cx="206802" cy="203146"/>
          </a:xfrm>
          <a:prstGeom prst="ellipse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0" name="Овал 89"/>
          <p:cNvSpPr/>
          <p:nvPr/>
        </p:nvSpPr>
        <p:spPr>
          <a:xfrm>
            <a:off x="4149099" y="6425211"/>
            <a:ext cx="206802" cy="206802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xmlns="" val="11891181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81355" y="190195"/>
            <a:ext cx="7897090" cy="8771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4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План мероприятий по проекту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/>
            </a:r>
            <a:b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«Оптимизация процесса движения участников образовательных </a:t>
            </a:r>
            <a:b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отношений и посетителей внутри и по территории ДОУ»  </a:t>
            </a:r>
            <a:b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endParaRPr lang="en-US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44059534"/>
              </p:ext>
            </p:extLst>
          </p:nvPr>
        </p:nvGraphicFramePr>
        <p:xfrm>
          <a:off x="138985" y="657940"/>
          <a:ext cx="8734344" cy="2748740"/>
        </p:xfrm>
        <a:graphic>
          <a:graphicData uri="http://schemas.openxmlformats.org/drawingml/2006/table">
            <a:tbl>
              <a:tblPr/>
              <a:tblGrid>
                <a:gridCol w="18745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610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5177">
                  <a:extLst>
                    <a:ext uri="{9D8B030D-6E8A-4147-A177-3AD203B41FA5}">
                      <a16:colId xmlns="" xmlns:a16="http://schemas.microsoft.com/office/drawing/2014/main" val="808978934"/>
                    </a:ext>
                  </a:extLst>
                </a:gridCol>
                <a:gridCol w="174185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0637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0736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6991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82852"/>
                <a:gridCol w="182852"/>
                <a:gridCol w="182852"/>
                <a:gridCol w="182852"/>
                <a:gridCol w="182852">
                  <a:extLst>
                    <a:ext uri="{9D8B030D-6E8A-4147-A177-3AD203B41FA5}">
                      <a16:colId xmlns="" xmlns:a16="http://schemas.microsoft.com/office/drawing/2014/main" val="1508885865"/>
                    </a:ext>
                  </a:extLst>
                </a:gridCol>
                <a:gridCol w="182852">
                  <a:extLst>
                    <a:ext uri="{9D8B030D-6E8A-4147-A177-3AD203B41FA5}">
                      <a16:colId xmlns="" xmlns:a16="http://schemas.microsoft.com/office/drawing/2014/main" val="2840659936"/>
                    </a:ext>
                  </a:extLst>
                </a:gridCol>
                <a:gridCol w="182852">
                  <a:extLst>
                    <a:ext uri="{9D8B030D-6E8A-4147-A177-3AD203B41FA5}">
                      <a16:colId xmlns="" xmlns:a16="http://schemas.microsoft.com/office/drawing/2014/main" val="661748098"/>
                    </a:ext>
                  </a:extLst>
                </a:gridCol>
                <a:gridCol w="182852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182852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182852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182852">
                  <a:extLst>
                    <a:ext uri="{9D8B030D-6E8A-4147-A177-3AD203B41FA5}">
                      <a16:colId xmlns="" xmlns:a16="http://schemas.microsoft.com/office/drawing/2014/main" val="1565215737"/>
                    </a:ext>
                  </a:extLst>
                </a:gridCol>
                <a:gridCol w="182852">
                  <a:extLst>
                    <a:ext uri="{9D8B030D-6E8A-4147-A177-3AD203B41FA5}">
                      <a16:colId xmlns="" xmlns:a16="http://schemas.microsoft.com/office/drawing/2014/main" val="1531949072"/>
                    </a:ext>
                  </a:extLst>
                </a:gridCol>
                <a:gridCol w="182852">
                  <a:extLst>
                    <a:ext uri="{9D8B030D-6E8A-4147-A177-3AD203B41FA5}">
                      <a16:colId xmlns="" xmlns:a16="http://schemas.microsoft.com/office/drawing/2014/main" val="3428229015"/>
                    </a:ext>
                  </a:extLst>
                </a:gridCol>
                <a:gridCol w="182852">
                  <a:extLst>
                    <a:ext uri="{9D8B030D-6E8A-4147-A177-3AD203B41FA5}">
                      <a16:colId xmlns="" xmlns:a16="http://schemas.microsoft.com/office/drawing/2014/main" val="4163102497"/>
                    </a:ext>
                  </a:extLst>
                </a:gridCol>
                <a:gridCol w="440989">
                  <a:extLst>
                    <a:ext uri="{9D8B030D-6E8A-4147-A177-3AD203B41FA5}">
                      <a16:colId xmlns="" xmlns:a16="http://schemas.microsoft.com/office/drawing/2014/main" val="20020"/>
                    </a:ext>
                  </a:extLst>
                </a:gridCol>
                <a:gridCol w="514248">
                  <a:extLst>
                    <a:ext uri="{9D8B030D-6E8A-4147-A177-3AD203B41FA5}">
                      <a16:colId xmlns="" xmlns:a16="http://schemas.microsoft.com/office/drawing/2014/main" val="20021"/>
                    </a:ext>
                  </a:extLst>
                </a:gridCol>
              </a:tblGrid>
              <a:tr h="285011">
                <a:tc gridSpan="23">
                  <a:txBody>
                    <a:bodyPr/>
                    <a:lstStyle/>
                    <a:p>
                      <a:pPr algn="l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671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блем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т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Эфф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ветственны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7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7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7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ату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мечани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65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7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7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1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2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3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4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5</a:t>
                      </a:r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65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32803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36000" algn="l" fontAlgn="ctr"/>
                      <a:r>
                        <a:rPr lang="ru-RU" sz="8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едение двойной документации, ожидание получения информации, нарушение взаимодействия между участниками образовательного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крепление результатов и закрытие проекта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лучшения процесса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манда проекта</a:t>
                      </a:r>
                      <a:endParaRPr lang="ru-RU" sz="8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5.11.19 -10.12.19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62179711"/>
                  </a:ext>
                </a:extLst>
              </a:tr>
              <a:tr h="357447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вершение активной работы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9.12.19</a:t>
                      </a:r>
                    </a:p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BCDAFA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BCDAFA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49940193"/>
                  </a:ext>
                </a:extLst>
              </a:tr>
              <a:tr h="2152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ъявление результатов, презентация 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.12.19</a:t>
                      </a:r>
                    </a:p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BCDAFA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BCDAFA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4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тпроектный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мониторинг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езультативность улучшений</a:t>
                      </a:r>
                    </a:p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манда проекта</a:t>
                      </a:r>
                      <a:endParaRPr lang="ru-RU" sz="8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1.04.2020- 29.04.19</a:t>
                      </a:r>
                    </a:p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BCDAFA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BCDAFA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4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оставление отчета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Е.А. 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лимовская</a:t>
                      </a: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.05.2020</a:t>
                      </a:r>
                    </a:p>
                    <a:p>
                      <a:pPr algn="ctr"/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BCDAFA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BCDAFA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800" b="0" i="0" u="none" strike="noStrike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7" name="Овал 86"/>
          <p:cNvSpPr/>
          <p:nvPr/>
        </p:nvSpPr>
        <p:spPr>
          <a:xfrm>
            <a:off x="795458" y="6365279"/>
            <a:ext cx="206802" cy="206802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88" name="Rectangle 2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98859" y="6389223"/>
            <a:ext cx="807328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      - Выполнено;                  - В процессе выполнения;              - Запланировано                </a:t>
            </a:r>
            <a:endParaRPr lang="ru-RU" sz="1000" dirty="0"/>
          </a:p>
        </p:txBody>
      </p:sp>
      <p:sp>
        <p:nvSpPr>
          <p:cNvPr id="89" name="Овал 88"/>
          <p:cNvSpPr/>
          <p:nvPr/>
        </p:nvSpPr>
        <p:spPr>
          <a:xfrm>
            <a:off x="2129351" y="6362766"/>
            <a:ext cx="206802" cy="206802"/>
          </a:xfrm>
          <a:prstGeom prst="ellipse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0" name="Овал 89"/>
          <p:cNvSpPr/>
          <p:nvPr/>
        </p:nvSpPr>
        <p:spPr>
          <a:xfrm>
            <a:off x="4149099" y="6362766"/>
            <a:ext cx="206802" cy="206802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8" name="TextBox 7"/>
          <p:cNvSpPr txBox="1"/>
          <p:nvPr/>
        </p:nvSpPr>
        <p:spPr>
          <a:xfrm>
            <a:off x="681355" y="5981419"/>
            <a:ext cx="76809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dirty="0" smtClean="0">
                <a:solidFill>
                  <a:srgbClr val="0070C0"/>
                </a:solidFill>
              </a:rPr>
              <a:t>* предусмотрена корректировка плана с сохранением основных этапов реализации проекта </a:t>
            </a:r>
            <a:endParaRPr lang="ru-RU" sz="105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91181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4.09510000000000040000E+000&quot;&gt;&lt;m_ppcolschidx val=&quot;0&quot;/&gt;&lt;m_rgb r=&quot;27&quot; g=&quot;b8&quot; b=&quot;2f&quot;/&gt;&lt;/elem&gt;&lt;elem m_fUsage=&quot;1.44020511000000020000E+000&quot;&gt;&lt;m_ppcolschidx val=&quot;0&quot;/&gt;&lt;m_rgb r=&quot;f2&quot; g=&quot;fd&quot; b=&quot;24&quot;/&gt;&lt;/elem&gt;&lt;elem m_fUsage=&quot;6.62489036190000100000E-001&quot;&gt;&lt;m_ppcolschidx val=&quot;0&quot;/&gt;&lt;m_rgb r=&quot;fd&quot; g=&quot;91&quot; b=&quot;24&quot;/&gt;&lt;/elem&gt;&lt;elem m_fUsage=&quot;5.90490000000000180000E-001&quot;&gt;&lt;m_ppcolschidx val=&quot;0&quot;/&gt;&lt;m_rgb r=&quot;ad&quot; g=&quot;de&quot; b=&quot;e7&quot;/&gt;&lt;/elem&gt;&lt;elem m_fUsage=&quot;5.11197461030610150000E-001&quot;&gt;&lt;m_ppcolschidx val=&quot;0&quot;/&gt;&lt;m_rgb r=&quot;b2&quot; g=&quot;b2&quot; b=&quot;b2&quot;/&gt;&lt;/elem&gt;&lt;elem m_fUsage=&quot;3.87420489000000150000E-001&quot;&gt;&lt;m_ppcolschidx val=&quot;0&quot;/&gt;&lt;m_rgb r=&quot;fe&quot; g=&quot;34&quot; b=&quot;39&quot;/&gt;&lt;/elem&gt;&lt;elem m_fUsage=&quot;2.54186582832900130000E-001&quot;&gt;&lt;m_ppcolschidx val=&quot;0&quot;/&gt;&lt;m_rgb r=&quot;dd&quot; g=&quot;dd&quot; b=&quot;d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BECKKu0CiH4pHW66y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BECKKu0CiH4pHW66y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2.xml><?xml version="1.0" encoding="utf-8"?>
<a:theme xmlns:a="http://schemas.openxmlformats.org/drawingml/2006/main" name="1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4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9502</TotalTime>
  <Words>559</Words>
  <Application>Microsoft Office PowerPoint</Application>
  <PresentationFormat>Произвольный</PresentationFormat>
  <Paragraphs>219</Paragraphs>
  <Slides>1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4" baseType="lpstr">
      <vt:lpstr>RDM027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10_RDM027</vt:lpstr>
      <vt:lpstr>11_RDM027</vt:lpstr>
      <vt:lpstr>think-cell Slide</vt:lpstr>
      <vt:lpstr>муниципальное бюджетное общеобразовательное учреждение  средняя школа №21 г. Волгодонска</vt:lpstr>
      <vt:lpstr>Мнение заказчиков</vt:lpstr>
      <vt:lpstr>Слайд 2</vt:lpstr>
      <vt:lpstr>Слайд 3</vt:lpstr>
      <vt:lpstr>Слайд 4</vt:lpstr>
      <vt:lpstr>Карточка ПСР-проекта </vt:lpstr>
      <vt:lpstr>Команда проекта</vt:lpstr>
      <vt:lpstr>План мероприятий по проекту    «Оптимизация процесса взаимодействия  участников  образовательных отношений»   </vt:lpstr>
      <vt:lpstr>План мероприятий по проекту  «Оптимизация процесса движения участников образовательных  отношений и посетителей внутри и по территории ДОУ»   </vt:lpstr>
      <vt:lpstr>Мониторинг достигнутых результатов</vt:lpstr>
      <vt:lpstr>Мониторинг достигнутых результатов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Ученик_2</cp:lastModifiedBy>
  <cp:revision>2256</cp:revision>
  <cp:lastPrinted>2017-06-13T14:49:06Z</cp:lastPrinted>
  <dcterms:created xsi:type="dcterms:W3CDTF">2014-11-19T15:14:37Z</dcterms:created>
  <dcterms:modified xsi:type="dcterms:W3CDTF">2020-08-04T08:4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